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256" r:id="rId2"/>
    <p:sldId id="268" r:id="rId3"/>
    <p:sldId id="257" r:id="rId4"/>
    <p:sldId id="258" r:id="rId5"/>
    <p:sldId id="259" r:id="rId6"/>
    <p:sldId id="260" r:id="rId7"/>
    <p:sldId id="261" r:id="rId8"/>
    <p:sldId id="262" r:id="rId9"/>
    <p:sldId id="263" r:id="rId10"/>
    <p:sldId id="265" r:id="rId11"/>
    <p:sldId id="264" r:id="rId12"/>
    <p:sldId id="266" r:id="rId13"/>
    <p:sldId id="267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034" autoAdjust="0"/>
    <p:restoredTop sz="94660"/>
  </p:normalViewPr>
  <p:slideViewPr>
    <p:cSldViewPr snapToGrid="0">
      <p:cViewPr varScale="1">
        <p:scale>
          <a:sx n="57" d="100"/>
          <a:sy n="57" d="100"/>
        </p:scale>
        <p:origin x="557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FDA81D-93C3-4D1F-9305-F68C33BAA85F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BB751A-DCE6-40E8-89D4-556CC505F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35032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54B9C5-E6F8-5646-9B17-21C6DEBC68B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87148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0BF8C-601D-40A5-9DBE-4CA11DBAFEDA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6C9F4B-F1BE-4142-8492-78373BD279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46893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0BF8C-601D-40A5-9DBE-4CA11DBAFEDA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6C9F4B-F1BE-4142-8492-78373BD279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97003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0BF8C-601D-40A5-9DBE-4CA11DBAFEDA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6C9F4B-F1BE-4142-8492-78373BD279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6668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5" imgW="305" imgH="303" progId="TCLayout.ActiveDocument.1">
                  <p:embed/>
                </p:oleObj>
              </mc:Choice>
              <mc:Fallback>
                <p:oleObj name="think-cell Slide" r:id="rId5" imgW="305" imgH="30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800" b="1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1"/>
            <a:ext cx="12192000" cy="48624"/>
          </a:xfrm>
          <a:prstGeom prst="rect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20096" y="304581"/>
            <a:ext cx="10995053" cy="987986"/>
          </a:xfrm>
        </p:spPr>
        <p:txBody>
          <a:bodyPr anchor="t">
            <a:noAutofit/>
          </a:bodyPr>
          <a:lstStyle>
            <a:lvl1pPr>
              <a:defRPr sz="2800" b="1" baseline="0">
                <a:solidFill>
                  <a:srgbClr val="002060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br>
              <a:rPr lang="en-US" dirty="0" smtClean="0"/>
            </a:br>
            <a:r>
              <a:rPr lang="en-US" dirty="0" smtClean="0"/>
              <a:t>line 2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594527" y="1890973"/>
            <a:ext cx="11041888" cy="3530236"/>
          </a:xfrm>
        </p:spPr>
        <p:txBody>
          <a:bodyPr>
            <a:noAutofit/>
          </a:bodyPr>
          <a:lstStyle>
            <a:lvl1pPr marL="285750" indent="-28575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400">
                <a:latin typeface="+mj-lt"/>
              </a:defRPr>
            </a:lvl1pPr>
            <a:lvl2pPr marL="742950" indent="-285750">
              <a:buFont typeface="Courier New" panose="02070309020205020404" pitchFamily="49" charset="0"/>
              <a:buChar char="o"/>
              <a:defRPr sz="1400">
                <a:latin typeface="+mj-lt"/>
              </a:defRPr>
            </a:lvl2pPr>
            <a:lvl3pPr marL="1085850" indent="-171450">
              <a:buFont typeface="Wingdings" panose="05000000000000000000" pitchFamily="2" charset="2"/>
              <a:buChar char="§"/>
              <a:defRPr sz="1200">
                <a:latin typeface="+mj-lt"/>
              </a:defRPr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err="1" smtClean="0"/>
              <a:t>Asdf</a:t>
            </a:r>
            <a:endParaRPr lang="en-US" dirty="0" smtClean="0"/>
          </a:p>
          <a:p>
            <a:pPr lvl="1"/>
            <a:r>
              <a:rPr lang="en-US" dirty="0" err="1" smtClean="0"/>
              <a:t>Asdf</a:t>
            </a:r>
            <a:endParaRPr lang="en-US" dirty="0" smtClean="0"/>
          </a:p>
          <a:p>
            <a:pPr lvl="1"/>
            <a:r>
              <a:rPr lang="en-US" dirty="0" err="1" smtClean="0"/>
              <a:t>Asdf</a:t>
            </a:r>
            <a:endParaRPr lang="en-US" dirty="0" smtClean="0"/>
          </a:p>
          <a:p>
            <a:pPr lvl="1"/>
            <a:r>
              <a:rPr lang="en-US" dirty="0" err="1" smtClean="0"/>
              <a:t>Adsf</a:t>
            </a:r>
            <a:endParaRPr lang="en-US" dirty="0" smtClean="0"/>
          </a:p>
          <a:p>
            <a:pPr lvl="2"/>
            <a:r>
              <a:rPr lang="en-US" dirty="0" err="1" smtClean="0"/>
              <a:t>Asdf</a:t>
            </a:r>
            <a:endParaRPr lang="en-US" dirty="0" smtClean="0"/>
          </a:p>
          <a:p>
            <a:pPr lvl="2"/>
            <a:r>
              <a:rPr lang="en-US" dirty="0" err="1" smtClean="0"/>
              <a:t>Asdf</a:t>
            </a:r>
            <a:endParaRPr lang="en-US" dirty="0" smtClean="0"/>
          </a:p>
          <a:p>
            <a:pPr lvl="2"/>
            <a:endParaRPr lang="en-US" dirty="0" smtClean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976740" y="6262149"/>
            <a:ext cx="659675" cy="365125"/>
          </a:xfrm>
        </p:spPr>
        <p:txBody>
          <a:bodyPr/>
          <a:lstStyle>
            <a:lvl1pPr>
              <a:defRPr>
                <a:solidFill>
                  <a:srgbClr val="00AEEF"/>
                </a:solidFill>
                <a:latin typeface="+mj-lt"/>
              </a:defRPr>
            </a:lvl1pPr>
          </a:lstStyle>
          <a:p>
            <a:fld id="{EA77FF04-976A-A947-AE95-760EE7C0F63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4527" y="5918851"/>
            <a:ext cx="2159000" cy="708422"/>
          </a:xfrm>
          <a:prstGeom prst="rect">
            <a:avLst/>
          </a:prstGeom>
        </p:spPr>
      </p:pic>
      <p:sp>
        <p:nvSpPr>
          <p:cNvPr id="15" name="Text Placeholder 3"/>
          <p:cNvSpPr>
            <a:spLocks noGrp="1"/>
          </p:cNvSpPr>
          <p:nvPr>
            <p:ph type="body" sz="half" idx="13" hasCustomPrompt="1"/>
          </p:nvPr>
        </p:nvSpPr>
        <p:spPr>
          <a:xfrm>
            <a:off x="594527" y="1408053"/>
            <a:ext cx="11041888" cy="38215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400">
                <a:solidFill>
                  <a:srgbClr val="002060"/>
                </a:solidFill>
                <a:latin typeface="+mj-lt"/>
              </a:defRPr>
            </a:lvl1pPr>
            <a:lvl2pPr marL="742950" indent="-285750">
              <a:buFont typeface="Courier New" panose="02070309020205020404" pitchFamily="49" charset="0"/>
              <a:buChar char="o"/>
              <a:defRPr sz="1400">
                <a:latin typeface="+mj-lt"/>
              </a:defRPr>
            </a:lvl2pPr>
            <a:lvl3pPr marL="1085850" indent="-171450">
              <a:buFont typeface="Wingdings" panose="05000000000000000000" pitchFamily="2" charset="2"/>
              <a:buChar char="§"/>
              <a:defRPr sz="1200">
                <a:latin typeface="+mj-lt"/>
              </a:defRPr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557692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0BF8C-601D-40A5-9DBE-4CA11DBAFEDA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6C9F4B-F1BE-4142-8492-78373BD279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177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0BF8C-601D-40A5-9DBE-4CA11DBAFEDA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6C9F4B-F1BE-4142-8492-78373BD279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51831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0BF8C-601D-40A5-9DBE-4CA11DBAFEDA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6C9F4B-F1BE-4142-8492-78373BD279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9383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0BF8C-601D-40A5-9DBE-4CA11DBAFEDA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6C9F4B-F1BE-4142-8492-78373BD279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21204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0BF8C-601D-40A5-9DBE-4CA11DBAFEDA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6C9F4B-F1BE-4142-8492-78373BD279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71143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0BF8C-601D-40A5-9DBE-4CA11DBAFEDA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6C9F4B-F1BE-4142-8492-78373BD279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32192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0BF8C-601D-40A5-9DBE-4CA11DBAFEDA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6C9F4B-F1BE-4142-8492-78373BD279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72759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0BF8C-601D-40A5-9DBE-4CA11DBAFEDA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6C9F4B-F1BE-4142-8492-78373BD279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51153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A0BF8C-601D-40A5-9DBE-4CA11DBAFEDA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6C9F4B-F1BE-4142-8492-78373BD279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9450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student%20pair%20programming.webm" TargetMode="Externa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hyperlink" Target="https://api.inkling.com/redirectvideos?streamName=2017_03_pairprogramming_ms_student_final&amp;encoding=webm_high&amp;bundleHistoryId=a7545c403aa44ecb9660e842f9559837&amp;access_token=eyJhbGciOiJIUzI1NiIsInR5cCI6IkpXVCJ9.eyJzdWIiOiIwYTFkNmQ5NjlhOWMwNzE0NjJhOGY1NDkzNjgxYjY4ZmVjMCIsIm9yZyI6ImFjNDQxMmM4ZmEzMTQ1MmE4ZmY4NzlmM2U4YWU3MTU2Iiwic2l0IjoiZjJiY2RmZTIzNGE4NGIyM2E3ZjkwY2Q0N2M3YTg5ZDEiLCJkaWQiOiI5ZTA2YzQ4N2Q0ZDE0OTg0YThjMWZhZmVhNWViZTVmOCIsImRldiI6IndlYl9jbGllbnQiLCJleHAiOjE1NjM0OTg1NTAsInJ0aSI6IjFlNzljZGM5NjQ3NTRhYzJhZDlmNGMxOWM3MGRkODYxIiwiY2xzIjoiZnVsbCIsImp0aSI6Ijc1NTJjZTcwMTVhODQxMDhhZjVjMThjZGM2N2M2ZjEwIiwiaWF0IjoxNTYzNDEyMTUwLCJuYmYiOjE1NjM0MTIxNTAsImFnbiI6Imlua2xpbmciLCJ2ZXIiOjF9.huMYibwHL1QCxrb5_fsTZ2W9L5lrrN_ivIdp8jX6haI" TargetMode="External"/><Relationship Id="rId4" Type="http://schemas.openxmlformats.org/officeDocument/2006/relationships/image" Target="../media/image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4.xml"/><Relationship Id="rId7" Type="http://schemas.openxmlformats.org/officeDocument/2006/relationships/image" Target="../media/image8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11.jpe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0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hyperlink" Target="pair%20programming%20video.webm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Pair Programming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15485"/>
            <a:ext cx="9144000" cy="1655762"/>
          </a:xfrm>
        </p:spPr>
        <p:txBody>
          <a:bodyPr/>
          <a:lstStyle/>
          <a:p>
            <a:r>
              <a:rPr lang="en-US" dirty="0" smtClean="0"/>
              <a:t>Using the strengths of two programmer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8327" y="249238"/>
            <a:ext cx="2562225" cy="78105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741" y="95250"/>
            <a:ext cx="2286000" cy="98107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416859" y="6051177"/>
            <a:ext cx="712694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/>
              <a:t>Please Sign in </a:t>
            </a:r>
            <a:endParaRPr lang="en-US" sz="3200" b="1" dirty="0"/>
          </a:p>
        </p:txBody>
      </p:sp>
    </p:spTree>
    <p:extLst>
      <p:ext uri="{BB962C8B-B14F-4D97-AF65-F5344CB8AC3E}">
        <p14:creationId xmlns:p14="http://schemas.microsoft.com/office/powerpoint/2010/main" val="1271171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hlinkClick r:id="rId2" action="ppaction://hlinkfile"/>
              </a:rPr>
              <a:t>Student Perspectiv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78327" y="249238"/>
            <a:ext cx="2562225" cy="78105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741" y="95250"/>
            <a:ext cx="2286000" cy="981075"/>
          </a:xfrm>
          <a:prstGeom prst="rect">
            <a:avLst/>
          </a:prstGeom>
        </p:spPr>
      </p:pic>
      <p:pic>
        <p:nvPicPr>
          <p:cNvPr id="6" name="Picture 5">
            <a:hlinkClick r:id="rId5"/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03568" y="3675844"/>
            <a:ext cx="3584864" cy="2164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069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Bringing it hom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When done effectively what does it look like?</a:t>
            </a:r>
          </a:p>
          <a:p>
            <a:endParaRPr lang="en-US" dirty="0" smtClean="0"/>
          </a:p>
          <a:p>
            <a:endParaRPr lang="en-US" dirty="0" smtClean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8327" y="249238"/>
            <a:ext cx="2562225" cy="78105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741" y="95250"/>
            <a:ext cx="2286000" cy="981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5331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  <a:p>
            <a:endParaRPr lang="en-US" dirty="0" smtClean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8327" y="249238"/>
            <a:ext cx="2562225" cy="78105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741" y="95250"/>
            <a:ext cx="2286000" cy="98107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67149" y="355959"/>
            <a:ext cx="6141501" cy="6443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268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6" imgW="737" imgH="733" progId="TCLayout.ActiveDocument.1">
                  <p:embed/>
                </p:oleObj>
              </mc:Choice>
              <mc:Fallback>
                <p:oleObj name="think-cell Slide" r:id="rId6" imgW="737" imgH="73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rgbClr val="FFFFFF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ate this session in the conference app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77FF04-976A-A947-AE95-760EE7C0F637}" type="slidenum">
              <a:rPr lang="en-US">
                <a:latin typeface="Calibri Light" panose="020F0302020204030204"/>
              </a:rPr>
              <a:pPr/>
              <a:t>13</a:t>
            </a:fld>
            <a:endParaRPr lang="en-US" dirty="0">
              <a:latin typeface="Calibri Light" panose="020F0302020204030204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1455" y="1245723"/>
            <a:ext cx="2293079" cy="4078622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9" name="Oval 8"/>
          <p:cNvSpPr/>
          <p:nvPr/>
        </p:nvSpPr>
        <p:spPr>
          <a:xfrm>
            <a:off x="7462237" y="2421763"/>
            <a:ext cx="2445960" cy="591129"/>
          </a:xfrm>
          <a:prstGeom prst="ellipse">
            <a:avLst/>
          </a:prstGeom>
          <a:noFill/>
          <a:ln w="571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3412" y="1245723"/>
            <a:ext cx="2293079" cy="4078622"/>
          </a:xfrm>
          <a:prstGeom prst="rect">
            <a:avLst/>
          </a:prstGeom>
          <a:ln>
            <a:solidFill>
              <a:schemeClr val="bg2"/>
            </a:solidFill>
          </a:ln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6749" y="1245723"/>
            <a:ext cx="2293078" cy="4078622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13" name="Oval 12"/>
          <p:cNvSpPr/>
          <p:nvPr/>
        </p:nvSpPr>
        <p:spPr>
          <a:xfrm>
            <a:off x="4713867" y="4333691"/>
            <a:ext cx="2445960" cy="591129"/>
          </a:xfrm>
          <a:prstGeom prst="ellipse">
            <a:avLst/>
          </a:prstGeom>
          <a:noFill/>
          <a:ln w="571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2093066" y="2826009"/>
            <a:ext cx="1210407" cy="1443026"/>
          </a:xfrm>
          <a:prstGeom prst="ellipse">
            <a:avLst/>
          </a:prstGeom>
          <a:noFill/>
          <a:ln w="571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765830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Steve </a:t>
            </a:r>
            <a:r>
              <a:rPr lang="en-US" dirty="0" err="1" smtClean="0"/>
              <a:t>Thering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/>
              <a:t>PLTW Master Teacher </a:t>
            </a:r>
          </a:p>
          <a:p>
            <a:r>
              <a:rPr lang="en-US" dirty="0" smtClean="0"/>
              <a:t>Technology Education Teacher in Pittsford NY</a:t>
            </a:r>
          </a:p>
          <a:p>
            <a:r>
              <a:rPr lang="en-US" dirty="0" smtClean="0"/>
              <a:t>Proud Father of 3</a:t>
            </a:r>
          </a:p>
          <a:p>
            <a:r>
              <a:rPr lang="en-US" dirty="0" smtClean="0"/>
              <a:t>Varsity Ice Hockey Coach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8327" y="249238"/>
            <a:ext cx="2562225" cy="78105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741" y="95250"/>
            <a:ext cx="2286000" cy="981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1176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The Roles of Pair Programming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Using the strengths of both the Driver and Navigator to solve the problems at hand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8327" y="249238"/>
            <a:ext cx="2562225" cy="78105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741" y="95250"/>
            <a:ext cx="2286000" cy="981075"/>
          </a:xfrm>
          <a:prstGeom prst="rect">
            <a:avLst/>
          </a:prstGeom>
        </p:spPr>
      </p:pic>
      <p:pic>
        <p:nvPicPr>
          <p:cNvPr id="7" name="Picture 6">
            <a:hlinkClick r:id="rId4" action="ppaction://hlinkfile"/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05497" y="4429919"/>
            <a:ext cx="3044017" cy="2368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3582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Driver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Writes and Modifies the code</a:t>
            </a:r>
          </a:p>
          <a:p>
            <a:r>
              <a:rPr lang="en-US" dirty="0" smtClean="0"/>
              <a:t>Controls the computer or tablet</a:t>
            </a:r>
          </a:p>
          <a:p>
            <a:r>
              <a:rPr lang="en-US" dirty="0" smtClean="0"/>
              <a:t>Transfers/downloads the code to the external devic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8327" y="249238"/>
            <a:ext cx="2562225" cy="78105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741" y="95250"/>
            <a:ext cx="2286000" cy="981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336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Navigator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2366500"/>
          </a:xfrm>
        </p:spPr>
        <p:txBody>
          <a:bodyPr>
            <a:normAutofit fontScale="92500" lnSpcReduction="10000"/>
          </a:bodyPr>
          <a:lstStyle/>
          <a:p>
            <a:r>
              <a:rPr lang="en-US" dirty="0" smtClean="0"/>
              <a:t>Keeps hands off computer</a:t>
            </a:r>
          </a:p>
          <a:p>
            <a:r>
              <a:rPr lang="en-US" dirty="0" smtClean="0"/>
              <a:t>Reviews the Code</a:t>
            </a:r>
          </a:p>
          <a:p>
            <a:r>
              <a:rPr lang="en-US" dirty="0" smtClean="0"/>
              <a:t>Identifies potential errors</a:t>
            </a:r>
          </a:p>
          <a:p>
            <a:r>
              <a:rPr lang="en-US" dirty="0" smtClean="0"/>
              <a:t>Proposes ideas or suggestions</a:t>
            </a:r>
          </a:p>
          <a:p>
            <a:r>
              <a:rPr lang="en-US" dirty="0" smtClean="0"/>
              <a:t>Completes wiring of external devices</a:t>
            </a:r>
          </a:p>
          <a:p>
            <a:r>
              <a:rPr lang="en-US" dirty="0" smtClean="0"/>
              <a:t>Documents in Design Journal/ Engineers notebook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8327" y="249238"/>
            <a:ext cx="2562225" cy="78105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741" y="95250"/>
            <a:ext cx="2286000" cy="981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710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reating Norm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With the people sitting around you discuss the following:</a:t>
            </a:r>
          </a:p>
          <a:p>
            <a:r>
              <a:rPr lang="en-US" dirty="0" smtClean="0"/>
              <a:t>What type of norms do you need to keep in mind?</a:t>
            </a:r>
          </a:p>
          <a:p>
            <a:r>
              <a:rPr lang="en-US" dirty="0" smtClean="0"/>
              <a:t>What makes a good pair programming team?</a:t>
            </a:r>
          </a:p>
          <a:p>
            <a:endParaRPr lang="en-US" dirty="0" smtClean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8327" y="249238"/>
            <a:ext cx="2562225" cy="78105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741" y="95250"/>
            <a:ext cx="2286000" cy="981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6986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reating Team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/>
              <a:t>How do you break a class into groups of two?</a:t>
            </a:r>
          </a:p>
          <a:p>
            <a:r>
              <a:rPr lang="en-US" dirty="0" smtClean="0"/>
              <a:t>What if you have an odd number of students?</a:t>
            </a:r>
          </a:p>
          <a:p>
            <a:r>
              <a:rPr lang="en-US" dirty="0" smtClean="0"/>
              <a:t>What are some effective ways to create successful teams?</a:t>
            </a:r>
          </a:p>
          <a:p>
            <a:r>
              <a:rPr lang="en-US" dirty="0" smtClean="0"/>
              <a:t>(high flyer vs. low flyer)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8327" y="249238"/>
            <a:ext cx="2562225" cy="78105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741" y="95250"/>
            <a:ext cx="2286000" cy="981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132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Timing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How often do you rotate?</a:t>
            </a:r>
          </a:p>
          <a:p>
            <a:r>
              <a:rPr lang="en-US" dirty="0" smtClean="0"/>
              <a:t>Balanced work load</a:t>
            </a:r>
          </a:p>
          <a:p>
            <a:endParaRPr lang="en-US" dirty="0" smtClean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8327" y="249238"/>
            <a:ext cx="2562225" cy="78105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741" y="95250"/>
            <a:ext cx="2286000" cy="981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2784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Facili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As a facilitator what does it look like? </a:t>
            </a:r>
          </a:p>
          <a:p>
            <a:r>
              <a:rPr lang="en-US" dirty="0" smtClean="0"/>
              <a:t>What type of questions do you pose?</a:t>
            </a:r>
          </a:p>
          <a:p>
            <a:r>
              <a:rPr lang="en-US" dirty="0" smtClean="0"/>
              <a:t>What is your role as a facilitator?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8327" y="249238"/>
            <a:ext cx="2562225" cy="78105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741" y="95250"/>
            <a:ext cx="2286000" cy="981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265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LO8Cyl8dR4zfU81v1Eu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Cm_f9QyfMUQf4mwQoZU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57</TotalTime>
  <Words>226</Words>
  <Application>Microsoft Office PowerPoint</Application>
  <PresentationFormat>Widescreen</PresentationFormat>
  <Paragraphs>45</Paragraphs>
  <Slides>1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0" baseType="lpstr">
      <vt:lpstr>Arial</vt:lpstr>
      <vt:lpstr>Calibri</vt:lpstr>
      <vt:lpstr>Calibri Light</vt:lpstr>
      <vt:lpstr>Courier New</vt:lpstr>
      <vt:lpstr>Wingdings</vt:lpstr>
      <vt:lpstr>Office Theme</vt:lpstr>
      <vt:lpstr>think-cell Slide</vt:lpstr>
      <vt:lpstr>Pair Programming</vt:lpstr>
      <vt:lpstr> Steve Thering</vt:lpstr>
      <vt:lpstr>The Roles of Pair Programming</vt:lpstr>
      <vt:lpstr>Driver</vt:lpstr>
      <vt:lpstr>Navigator</vt:lpstr>
      <vt:lpstr>Creating Norms</vt:lpstr>
      <vt:lpstr>Creating Teams</vt:lpstr>
      <vt:lpstr>Timing</vt:lpstr>
      <vt:lpstr>Facilitation</vt:lpstr>
      <vt:lpstr>Student Perspective</vt:lpstr>
      <vt:lpstr>Bringing it home</vt:lpstr>
      <vt:lpstr>PowerPoint Presentation</vt:lpstr>
      <vt:lpstr>Rate this session in the conference app!</vt:lpstr>
    </vt:vector>
  </TitlesOfParts>
  <Company>Pittsford School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ir Programming</dc:title>
  <dc:creator>Steve Thering</dc:creator>
  <cp:lastModifiedBy>Windows User</cp:lastModifiedBy>
  <cp:revision>14</cp:revision>
  <dcterms:created xsi:type="dcterms:W3CDTF">2019-07-18T01:22:09Z</dcterms:created>
  <dcterms:modified xsi:type="dcterms:W3CDTF">2019-10-21T14:04:56Z</dcterms:modified>
</cp:coreProperties>
</file>